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5"/>
  </p:notesMasterIdLst>
  <p:sldIdLst>
    <p:sldId id="256" r:id="rId2"/>
    <p:sldId id="268" r:id="rId3"/>
    <p:sldId id="270" r:id="rId4"/>
    <p:sldId id="279" r:id="rId5"/>
    <p:sldId id="271" r:id="rId6"/>
    <p:sldId id="277" r:id="rId7"/>
    <p:sldId id="280" r:id="rId8"/>
    <p:sldId id="272" r:id="rId9"/>
    <p:sldId id="275" r:id="rId10"/>
    <p:sldId id="282" r:id="rId11"/>
    <p:sldId id="274" r:id="rId12"/>
    <p:sldId id="273" r:id="rId13"/>
    <p:sldId id="276" r:id="rId14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ugene TAN Jin Han" initials="ETJH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9AF6"/>
    <a:srgbClr val="F19417"/>
    <a:srgbClr val="B4C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0"/>
    <p:restoredTop sz="94456"/>
  </p:normalViewPr>
  <p:slideViewPr>
    <p:cSldViewPr snapToGrid="0" snapToObjects="1">
      <p:cViewPr varScale="1">
        <p:scale>
          <a:sx n="63" d="100"/>
          <a:sy n="63" d="100"/>
        </p:scale>
        <p:origin x="82" y="49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071F0F-718B-4975-8940-9D55C739B018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354360-ABF1-4532-8543-7C5EF404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45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354360-ABF1-4532-8543-7C5EF404D63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832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3"/>
          <p:cNvSpPr txBox="1">
            <a:spLocks/>
          </p:cNvSpPr>
          <p:nvPr userDrawn="1"/>
        </p:nvSpPr>
        <p:spPr>
          <a:xfrm>
            <a:off x="685800" y="5339715"/>
            <a:ext cx="77724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Co-Lock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7831" y="6284530"/>
            <a:ext cx="497969" cy="49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34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481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874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3"/>
          <p:cNvSpPr txBox="1">
            <a:spLocks/>
          </p:cNvSpPr>
          <p:nvPr userDrawn="1"/>
        </p:nvSpPr>
        <p:spPr>
          <a:xfrm>
            <a:off x="685800" y="5339715"/>
            <a:ext cx="77724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Co-Lock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7831" y="6284530"/>
            <a:ext cx="497969" cy="49796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546429" y="1450523"/>
            <a:ext cx="8051142" cy="0"/>
          </a:xfrm>
          <a:prstGeom prst="line">
            <a:avLst/>
          </a:prstGeom>
          <a:ln w="38100" cmpd="sng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894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786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245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774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15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38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4110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510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BB1D80-1ADF-E046-B808-86946F2DD629}" type="datetimeFigureOut">
              <a:rPr lang="en-US" smtClean="0"/>
              <a:t>5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F4BA5-1C03-CB4F-BCF5-9DE18A800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7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3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5.tiff"/><Relationship Id="rId15" Type="http://schemas.openxmlformats.org/officeDocument/2006/relationships/image" Target="../media/image26.jpg"/><Relationship Id="rId10" Type="http://schemas.openxmlformats.org/officeDocument/2006/relationships/image" Target="../media/image21.png"/><Relationship Id="rId4" Type="http://schemas.openxmlformats.org/officeDocument/2006/relationships/image" Target="../media/image4.tiff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tiff"/><Relationship Id="rId4" Type="http://schemas.openxmlformats.org/officeDocument/2006/relationships/image" Target="../media/image11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png"/><Relationship Id="rId5" Type="http://schemas.openxmlformats.org/officeDocument/2006/relationships/image" Target="../media/image14.gif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195575" y="3927785"/>
            <a:ext cx="6858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Light"/>
                <a:cs typeface="Open Sans Light"/>
              </a:rPr>
              <a:t>Co-working made simple and saf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95577" y="5273326"/>
            <a:ext cx="68579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Open Sans Light"/>
                <a:cs typeface="Open Sans Light"/>
              </a:rPr>
              <a:t>Hackathon</a:t>
            </a:r>
            <a:r>
              <a:rPr lang="en-US" sz="105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Light"/>
                <a:cs typeface="Open Sans Light"/>
              </a:rPr>
              <a:t> Presentation | May 2017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66800" y="1378602"/>
            <a:ext cx="7772400" cy="2387600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-Lock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3541" y="2770263"/>
            <a:ext cx="995939" cy="9959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45" t="6573" r="13254"/>
          <a:stretch/>
        </p:blipFill>
        <p:spPr>
          <a:xfrm>
            <a:off x="6633187" y="307238"/>
            <a:ext cx="514874" cy="599767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7132024" y="222186"/>
            <a:ext cx="3447010" cy="7168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i="1" dirty="0"/>
              <a:t>Smoke &amp; Fluff</a:t>
            </a:r>
          </a:p>
        </p:txBody>
      </p:sp>
    </p:spTree>
    <p:extLst>
      <p:ext uri="{BB962C8B-B14F-4D97-AF65-F5344CB8AC3E}">
        <p14:creationId xmlns:p14="http://schemas.microsoft.com/office/powerpoint/2010/main" val="7637355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55398"/>
            <a:ext cx="7886700" cy="1325563"/>
          </a:xfrm>
        </p:spPr>
        <p:txBody>
          <a:bodyPr/>
          <a:lstStyle/>
          <a:p>
            <a:r>
              <a:rPr lang="en-US" dirty="0"/>
              <a:t>We target medium-sized co-working spaces</a:t>
            </a:r>
          </a:p>
        </p:txBody>
      </p:sp>
      <p:pic>
        <p:nvPicPr>
          <p:cNvPr id="8" name="Picture 7" descr="A picture containing clipart&#10;&#10;Description generated with high confidenc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5098" y="1662250"/>
            <a:ext cx="1292880" cy="914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08" y="1663159"/>
            <a:ext cx="1329779" cy="12384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008" y="2887901"/>
            <a:ext cx="1889633" cy="132556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980" y="4515009"/>
            <a:ext cx="2929613" cy="4945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4759" y="1612183"/>
            <a:ext cx="1340414" cy="1340414"/>
          </a:xfrm>
          <a:prstGeom prst="rect">
            <a:avLst/>
          </a:prstGeom>
        </p:spPr>
      </p:pic>
      <p:pic>
        <p:nvPicPr>
          <p:cNvPr id="15" name="Picture 14" descr="A picture containing controller, remote&#10;&#10;Description generated with high confidence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7641" y="2872716"/>
            <a:ext cx="1837306" cy="1355932"/>
          </a:xfrm>
          <a:prstGeom prst="rect">
            <a:avLst/>
          </a:prstGeom>
        </p:spPr>
      </p:pic>
      <p:pic>
        <p:nvPicPr>
          <p:cNvPr id="17" name="Picture 16" descr="A close up of a sign&#10;&#10;Description generated with high confidenc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46400" y="4290983"/>
            <a:ext cx="1437132" cy="143713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61954" y="1668766"/>
            <a:ext cx="1131330" cy="1131330"/>
          </a:xfrm>
          <a:prstGeom prst="rect">
            <a:avLst/>
          </a:prstGeom>
        </p:spPr>
      </p:pic>
      <p:pic>
        <p:nvPicPr>
          <p:cNvPr id="21" name="Picture 20" descr="A close up of a sign&#10;&#10;Description generated with high confidence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37899" y="3001602"/>
            <a:ext cx="1287565" cy="1273493"/>
          </a:xfrm>
          <a:prstGeom prst="rect">
            <a:avLst/>
          </a:prstGeom>
        </p:spPr>
      </p:pic>
      <p:pic>
        <p:nvPicPr>
          <p:cNvPr id="23" name="Picture 22" descr="A picture containing thing&#10;&#10;Description generated with very high confidence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32065" y="2660532"/>
            <a:ext cx="3178560" cy="682140"/>
          </a:xfrm>
          <a:prstGeom prst="rect">
            <a:avLst/>
          </a:prstGeom>
        </p:spPr>
      </p:pic>
      <p:pic>
        <p:nvPicPr>
          <p:cNvPr id="25" name="Picture 24" descr="A picture containing thing&#10;&#10;Description generated with high confidence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32065" y="3423963"/>
            <a:ext cx="2491546" cy="1338316"/>
          </a:xfrm>
          <a:prstGeom prst="rect">
            <a:avLst/>
          </a:prstGeom>
        </p:spPr>
      </p:pic>
      <p:pic>
        <p:nvPicPr>
          <p:cNvPr id="27" name="Picture 26" descr="A picture containing thing, object&#10;&#10;Description generated with very high confidence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61954" y="4512333"/>
            <a:ext cx="3293529" cy="1198127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45454" y="1620945"/>
            <a:ext cx="951782" cy="95178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16558" y="5137460"/>
            <a:ext cx="1181309" cy="1181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7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586" y="219983"/>
            <a:ext cx="7886700" cy="1325563"/>
          </a:xfrm>
        </p:spPr>
        <p:txBody>
          <a:bodyPr/>
          <a:lstStyle/>
          <a:p>
            <a:r>
              <a:rPr lang="en-US" dirty="0"/>
              <a:t>Large immediate market with huge growth in Singapore</a:t>
            </a:r>
          </a:p>
        </p:txBody>
      </p:sp>
      <p:sp>
        <p:nvSpPr>
          <p:cNvPr id="4" name="Oval 3"/>
          <p:cNvSpPr/>
          <p:nvPr/>
        </p:nvSpPr>
        <p:spPr>
          <a:xfrm>
            <a:off x="3776962" y="1762026"/>
            <a:ext cx="2264229" cy="2162629"/>
          </a:xfrm>
          <a:prstGeom prst="ellipse">
            <a:avLst/>
          </a:prstGeom>
          <a:noFill/>
          <a:ln w="190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$400M Co-Working Market</a:t>
            </a:r>
          </a:p>
          <a:p>
            <a:pPr algn="ctr"/>
            <a:endParaRPr lang="en-US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6.4% CAGR</a:t>
            </a:r>
          </a:p>
        </p:txBody>
      </p:sp>
      <p:sp>
        <p:nvSpPr>
          <p:cNvPr id="5" name="Oval 4"/>
          <p:cNvSpPr/>
          <p:nvPr/>
        </p:nvSpPr>
        <p:spPr>
          <a:xfrm>
            <a:off x="489271" y="3859467"/>
            <a:ext cx="2707034" cy="2510129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$1.98B Residential Lease Market </a:t>
            </a:r>
          </a:p>
          <a:p>
            <a:pPr algn="ctr"/>
            <a:endParaRPr lang="en-US" sz="20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en-US" sz="20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5.3% CAGR</a:t>
            </a:r>
          </a:p>
        </p:txBody>
      </p:sp>
      <p:sp>
        <p:nvSpPr>
          <p:cNvPr id="6" name="Oval 5"/>
          <p:cNvSpPr/>
          <p:nvPr/>
        </p:nvSpPr>
        <p:spPr>
          <a:xfrm>
            <a:off x="6502758" y="4141135"/>
            <a:ext cx="2196343" cy="1946792"/>
          </a:xfrm>
          <a:prstGeom prst="ellipse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$170M Bike-Sharing Market</a:t>
            </a:r>
          </a:p>
          <a:p>
            <a:pPr algn="ctr"/>
            <a:endParaRPr lang="en-US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6% CAGR</a:t>
            </a:r>
          </a:p>
        </p:txBody>
      </p:sp>
      <p:sp>
        <p:nvSpPr>
          <p:cNvPr id="7" name="Arrow: Right 6"/>
          <p:cNvSpPr/>
          <p:nvPr/>
        </p:nvSpPr>
        <p:spPr>
          <a:xfrm rot="2313467">
            <a:off x="5867917" y="3636245"/>
            <a:ext cx="740229" cy="639566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/>
          <p:cNvSpPr/>
          <p:nvPr/>
        </p:nvSpPr>
        <p:spPr>
          <a:xfrm rot="7955243">
            <a:off x="3017418" y="3628104"/>
            <a:ext cx="740229" cy="639566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98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49379"/>
            <a:ext cx="7886700" cy="1325563"/>
          </a:xfrm>
        </p:spPr>
        <p:txBody>
          <a:bodyPr/>
          <a:lstStyle/>
          <a:p>
            <a:r>
              <a:rPr lang="en-US" dirty="0"/>
              <a:t>SaaS model with free lock implement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798668"/>
            <a:ext cx="7886700" cy="2364410"/>
          </a:xfrm>
        </p:spPr>
        <p:txBody>
          <a:bodyPr>
            <a:normAutofit/>
          </a:bodyPr>
          <a:lstStyle/>
          <a:p>
            <a:r>
              <a:rPr lang="en-US" dirty="0"/>
              <a:t>Charge 2% of lease price</a:t>
            </a:r>
          </a:p>
          <a:p>
            <a:r>
              <a:rPr lang="en-US" dirty="0"/>
              <a:t>Estimated ARR of </a:t>
            </a:r>
            <a:r>
              <a:rPr lang="en-US" b="1" dirty="0"/>
              <a:t>$0.90M </a:t>
            </a:r>
            <a:r>
              <a:rPr lang="en-US" dirty="0"/>
              <a:t>after 1-year operation</a:t>
            </a:r>
          </a:p>
          <a:p>
            <a:r>
              <a:rPr lang="en-US" dirty="0"/>
              <a:t>High Life-Time Value (as opposed to partnering with </a:t>
            </a:r>
            <a:r>
              <a:rPr lang="en-US" dirty="0" err="1"/>
              <a:t>AirBnb</a:t>
            </a:r>
            <a:r>
              <a:rPr lang="en-US" dirty="0"/>
              <a:t> hosts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: Rounded Corners 3"/>
          <p:cNvSpPr/>
          <p:nvPr/>
        </p:nvSpPr>
        <p:spPr>
          <a:xfrm>
            <a:off x="821803" y="4386805"/>
            <a:ext cx="2095017" cy="1481560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arget initial 10 offices</a:t>
            </a:r>
          </a:p>
        </p:txBody>
      </p:sp>
      <p:sp>
        <p:nvSpPr>
          <p:cNvPr id="5" name="Rectangle: Rounded Corners 4"/>
          <p:cNvSpPr/>
          <p:nvPr/>
        </p:nvSpPr>
        <p:spPr>
          <a:xfrm>
            <a:off x="3254415" y="4386805"/>
            <a:ext cx="2095017" cy="1481560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erage 8,000sqf (250 seats)</a:t>
            </a:r>
          </a:p>
        </p:txBody>
      </p:sp>
      <p:sp>
        <p:nvSpPr>
          <p:cNvPr id="6" name="Rectangle: Rounded Corners 5"/>
          <p:cNvSpPr/>
          <p:nvPr/>
        </p:nvSpPr>
        <p:spPr>
          <a:xfrm>
            <a:off x="5687027" y="4386805"/>
            <a:ext cx="2095017" cy="1481560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ase prices between $30-$60/day</a:t>
            </a:r>
          </a:p>
        </p:txBody>
      </p:sp>
    </p:spTree>
    <p:extLst>
      <p:ext uri="{BB962C8B-B14F-4D97-AF65-F5344CB8AC3E}">
        <p14:creationId xmlns:p14="http://schemas.microsoft.com/office/powerpoint/2010/main" val="39131895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-to-market Strategy</a:t>
            </a:r>
            <a:br>
              <a:rPr lang="en-US" dirty="0"/>
            </a:br>
            <a:r>
              <a:rPr lang="en-US" sz="1800" i="1" dirty="0"/>
              <a:t>Today we build locks, tomorrow we build homes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82880" y="1568769"/>
            <a:ext cx="2758440" cy="4268151"/>
            <a:chOff x="182880" y="1568769"/>
            <a:chExt cx="2758440" cy="4268151"/>
          </a:xfrm>
        </p:grpSpPr>
        <p:sp>
          <p:nvSpPr>
            <p:cNvPr id="5" name="Rectangle 4"/>
            <p:cNvSpPr/>
            <p:nvPr/>
          </p:nvSpPr>
          <p:spPr>
            <a:xfrm>
              <a:off x="461010" y="1737360"/>
              <a:ext cx="2480310" cy="4099560"/>
            </a:xfrm>
            <a:prstGeom prst="rect">
              <a:avLst/>
            </a:prstGeom>
            <a:solidFill>
              <a:srgbClr val="B4C7E7">
                <a:alpha val="30196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argets 3 co-working operato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err="1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pacemob</a:t>
              </a:r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egu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paces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stomer Acquisi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rive App install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ducate use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/>
            </a:p>
          </p:txBody>
        </p:sp>
        <p:sp>
          <p:nvSpPr>
            <p:cNvPr id="6" name="Rectangle: Rounded Corners 5"/>
            <p:cNvSpPr/>
            <p:nvPr/>
          </p:nvSpPr>
          <p:spPr>
            <a:xfrm>
              <a:off x="182880" y="1568769"/>
              <a:ext cx="2468880" cy="70199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duct-Market Fi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219450" y="1568769"/>
            <a:ext cx="2758440" cy="4268151"/>
            <a:chOff x="182880" y="1568769"/>
            <a:chExt cx="2758440" cy="4268151"/>
          </a:xfrm>
        </p:grpSpPr>
        <p:sp>
          <p:nvSpPr>
            <p:cNvPr id="8" name="Rectangle 7"/>
            <p:cNvSpPr/>
            <p:nvPr/>
          </p:nvSpPr>
          <p:spPr>
            <a:xfrm>
              <a:off x="461010" y="1737360"/>
              <a:ext cx="2480310" cy="4099560"/>
            </a:xfrm>
            <a:prstGeom prst="rect">
              <a:avLst/>
            </a:prstGeom>
            <a:solidFill>
              <a:srgbClr val="B4C7E7">
                <a:alpha val="30196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  <a:p>
              <a:endParaRPr lang="en-US" dirty="0"/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artners with lock-make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pecializ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trol Value Chai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ggressively sells to other co-working operators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9" name="Rectangle: Rounded Corners 8"/>
            <p:cNvSpPr/>
            <p:nvPr/>
          </p:nvSpPr>
          <p:spPr>
            <a:xfrm>
              <a:off x="182880" y="1568769"/>
              <a:ext cx="2468880" cy="70199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netrat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256020" y="1568769"/>
            <a:ext cx="2758440" cy="4268151"/>
            <a:chOff x="182880" y="1568769"/>
            <a:chExt cx="2758440" cy="4268151"/>
          </a:xfrm>
        </p:grpSpPr>
        <p:sp>
          <p:nvSpPr>
            <p:cNvPr id="11" name="Rectangle 10"/>
            <p:cNvSpPr/>
            <p:nvPr/>
          </p:nvSpPr>
          <p:spPr>
            <a:xfrm>
              <a:off x="461010" y="1737360"/>
              <a:ext cx="2480310" cy="4099560"/>
            </a:xfrm>
            <a:prstGeom prst="rect">
              <a:avLst/>
            </a:prstGeom>
            <a:solidFill>
              <a:srgbClr val="B4C7E7">
                <a:alpha val="30196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  <a:p>
              <a:endParaRPr lang="en-US" dirty="0"/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rtical Business Lin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err="1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irBnb</a:t>
              </a:r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Bike-Shar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hone Leas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eographical Expans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etnam (Hanoi, HCMC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thers with strong startup movement</a:t>
              </a:r>
            </a:p>
          </p:txBody>
        </p:sp>
        <p:sp>
          <p:nvSpPr>
            <p:cNvPr id="12" name="Rectangle: Rounded Corners 11"/>
            <p:cNvSpPr/>
            <p:nvPr/>
          </p:nvSpPr>
          <p:spPr>
            <a:xfrm>
              <a:off x="182880" y="1568769"/>
              <a:ext cx="2468880" cy="70199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xpans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5569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>
            <a:normAutofit/>
          </a:bodyPr>
          <a:lstStyle/>
          <a:p>
            <a:r>
              <a:rPr lang="en-US" sz="3200" dirty="0"/>
              <a:t>Co-working thrives as startups thriv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309" y="1872527"/>
            <a:ext cx="1329779" cy="12384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3383" y="3299271"/>
            <a:ext cx="1889633" cy="132556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394" y="5051457"/>
            <a:ext cx="2929613" cy="494540"/>
          </a:xfrm>
          <a:prstGeom prst="rect">
            <a:avLst/>
          </a:prstGeom>
        </p:spPr>
      </p:pic>
      <p:pic>
        <p:nvPicPr>
          <p:cNvPr id="11" name="Picture 2" descr="http://genylabs.typepad.com/.a/6a00d8345675df69e201b7c881486c970b-pi"/>
          <p:cNvPicPr>
            <a:picLocks noGrp="1" noChangeAspect="1" noChangeArrowheads="1"/>
          </p:cNvPicPr>
          <p:nvPr>
            <p:ph idx="429496729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82" y="1872527"/>
            <a:ext cx="5025226" cy="3702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7994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43206"/>
            <a:ext cx="7886700" cy="1325563"/>
          </a:xfrm>
        </p:spPr>
        <p:txBody>
          <a:bodyPr>
            <a:normAutofit/>
          </a:bodyPr>
          <a:lstStyle/>
          <a:p>
            <a:r>
              <a:rPr lang="en-US" sz="3200" dirty="0"/>
              <a:t>Pain Point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82880" y="1568769"/>
            <a:ext cx="2758440" cy="4268151"/>
            <a:chOff x="182880" y="1568769"/>
            <a:chExt cx="2758440" cy="4268151"/>
          </a:xfrm>
        </p:grpSpPr>
        <p:sp>
          <p:nvSpPr>
            <p:cNvPr id="7" name="Rectangle 6"/>
            <p:cNvSpPr/>
            <p:nvPr/>
          </p:nvSpPr>
          <p:spPr>
            <a:xfrm>
              <a:off x="461010" y="1737360"/>
              <a:ext cx="2480310" cy="4099560"/>
            </a:xfrm>
            <a:prstGeom prst="rect">
              <a:avLst/>
            </a:prstGeom>
            <a:solidFill>
              <a:srgbClr val="B4C7E7">
                <a:alpha val="30196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  <a:p>
              <a:endParaRPr lang="en-US" dirty="0"/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nauthorized entry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heft of equipment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heft of IP</a:t>
              </a:r>
            </a:p>
          </p:txBody>
        </p:sp>
        <p:sp>
          <p:nvSpPr>
            <p:cNvPr id="11" name="Rectangle: Rounded Corners 10"/>
            <p:cNvSpPr/>
            <p:nvPr/>
          </p:nvSpPr>
          <p:spPr>
            <a:xfrm>
              <a:off x="182880" y="1568769"/>
              <a:ext cx="2468880" cy="70199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>
                  <a:solidFill>
                    <a:schemeClr val="accent1">
                      <a:lumMod val="7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curity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188970" y="1568769"/>
            <a:ext cx="2758440" cy="4268151"/>
            <a:chOff x="182880" y="1568769"/>
            <a:chExt cx="2758440" cy="4268151"/>
          </a:xfrm>
        </p:grpSpPr>
        <p:sp>
          <p:nvSpPr>
            <p:cNvPr id="14" name="Rectangle 13"/>
            <p:cNvSpPr/>
            <p:nvPr/>
          </p:nvSpPr>
          <p:spPr>
            <a:xfrm>
              <a:off x="461010" y="1737360"/>
              <a:ext cx="2480310" cy="4099560"/>
            </a:xfrm>
            <a:prstGeom prst="rect">
              <a:avLst/>
            </a:prstGeom>
            <a:solidFill>
              <a:srgbClr val="B4C7E7">
                <a:alpha val="30196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  <a:p>
              <a:endParaRPr lang="en-US" dirty="0"/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ss of Revenues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ffected Margins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isance drives users away</a:t>
              </a:r>
            </a:p>
          </p:txBody>
        </p:sp>
        <p:sp>
          <p:nvSpPr>
            <p:cNvPr id="15" name="Rectangle: Rounded Corners 14"/>
            <p:cNvSpPr/>
            <p:nvPr/>
          </p:nvSpPr>
          <p:spPr>
            <a:xfrm>
              <a:off x="182880" y="1568769"/>
              <a:ext cx="2468880" cy="70199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>
                  <a:solidFill>
                    <a:schemeClr val="accent1">
                      <a:lumMod val="7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ver-Capacity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107430" y="1568769"/>
            <a:ext cx="2758440" cy="4268151"/>
            <a:chOff x="182880" y="1568769"/>
            <a:chExt cx="2758440" cy="4268151"/>
          </a:xfrm>
        </p:grpSpPr>
        <p:sp>
          <p:nvSpPr>
            <p:cNvPr id="17" name="Rectangle 16"/>
            <p:cNvSpPr/>
            <p:nvPr/>
          </p:nvSpPr>
          <p:spPr>
            <a:xfrm>
              <a:off x="461010" y="1737360"/>
              <a:ext cx="2480310" cy="4099560"/>
            </a:xfrm>
            <a:prstGeom prst="rect">
              <a:avLst/>
            </a:prstGeom>
            <a:solidFill>
              <a:srgbClr val="B4C7E7">
                <a:alpha val="30196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dirty="0"/>
            </a:p>
            <a:p>
              <a:endParaRPr lang="en-US" dirty="0"/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nual labor costs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r>
                <a:rPr lang="en-US" dirty="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High costs spent on monitoring (CCTV, security guards)</a:t>
              </a:r>
            </a:p>
            <a:p>
              <a:endParaRPr lang="en-US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182880" y="1568769"/>
              <a:ext cx="2468880" cy="701991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>
                  <a:solidFill>
                    <a:schemeClr val="accent1">
                      <a:lumMod val="7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efficiency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68797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Solution: Co-Lock System</a:t>
            </a:r>
          </a:p>
        </p:txBody>
      </p:sp>
      <p:pic>
        <p:nvPicPr>
          <p:cNvPr id="17" name="Content Placeholder 7" descr="A picture containing floor, indoor, wall, room&#10;&#10;Description generated with very high confidence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784271" y="3975793"/>
            <a:ext cx="3731079" cy="2176163"/>
          </a:xfr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8" y="1737833"/>
            <a:ext cx="3380015" cy="224924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57198" y="4920145"/>
            <a:ext cx="404948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-Locks installed at the charging points</a:t>
            </a:r>
          </a:p>
          <a:p>
            <a:endParaRPr lang="en-US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R scan required to unlock the charging points</a:t>
            </a:r>
          </a:p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457198" y="4520035"/>
            <a:ext cx="30862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en Tables’ Charging Port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151497" y="1953044"/>
            <a:ext cx="3483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ffice Cubicles &amp; Main Entran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151497" y="2385812"/>
            <a:ext cx="40494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-Locks installed at these entry points</a:t>
            </a:r>
          </a:p>
          <a:p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R scan required to unlock the door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4151497" y="2398216"/>
            <a:ext cx="372976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457198" y="4907740"/>
            <a:ext cx="3810413" cy="2480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074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Solution: Co-Lock System</a:t>
            </a:r>
          </a:p>
        </p:txBody>
      </p:sp>
      <p:sp>
        <p:nvSpPr>
          <p:cNvPr id="5" name="Rectangle: Rounded Corners 4"/>
          <p:cNvSpPr/>
          <p:nvPr/>
        </p:nvSpPr>
        <p:spPr>
          <a:xfrm>
            <a:off x="5997479" y="1666878"/>
            <a:ext cx="2681153" cy="47339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b Interface</a:t>
            </a:r>
          </a:p>
        </p:txBody>
      </p:sp>
      <p:sp>
        <p:nvSpPr>
          <p:cNvPr id="6" name="Rectangle: Rounded Corners 5"/>
          <p:cNvSpPr/>
          <p:nvPr/>
        </p:nvSpPr>
        <p:spPr>
          <a:xfrm>
            <a:off x="3871845" y="3860686"/>
            <a:ext cx="2468880" cy="47339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bil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4890815" y="4475910"/>
            <a:ext cx="1991270" cy="2276736"/>
          </a:xfrm>
          <a:prstGeom prst="rect">
            <a:avLst/>
          </a:prstGeom>
          <a:solidFill>
            <a:srgbClr val="B4C7E7">
              <a:alpha val="30196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can QR to Unlock Rooms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 err="1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eatmap</a:t>
            </a:r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f available tables/offices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-demand booking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curely store equipment 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719202" y="2307069"/>
            <a:ext cx="1934937" cy="1838211"/>
          </a:xfrm>
          <a:prstGeom prst="rect">
            <a:avLst/>
          </a:prstGeom>
          <a:solidFill>
            <a:srgbClr val="B4C7E7">
              <a:alpha val="30196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trol and customize access (rooms)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nage occupancy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acility usage analytics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Rectangle: Rounded Corners 4"/>
          <p:cNvSpPr/>
          <p:nvPr/>
        </p:nvSpPr>
        <p:spPr>
          <a:xfrm>
            <a:off x="993219" y="1690689"/>
            <a:ext cx="2468880" cy="47339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-Lock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81891" y="2406141"/>
            <a:ext cx="1608365" cy="1231178"/>
          </a:xfrm>
          <a:prstGeom prst="rect">
            <a:avLst/>
          </a:prstGeom>
          <a:solidFill>
            <a:srgbClr val="B4C7E7">
              <a:alpha val="30196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mart Lock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R activated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stricts access</a:t>
            </a: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en-US" sz="1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370" y="2438799"/>
            <a:ext cx="1094014" cy="1094014"/>
          </a:xfrm>
          <a:prstGeom prst="rect">
            <a:avLst/>
          </a:prstGeom>
        </p:spPr>
      </p:pic>
      <p:pic>
        <p:nvPicPr>
          <p:cNvPr id="4" name="Picture 3" descr="A picture containing screenshot&#10;&#10;Description generated with very high confidenc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2099" y="4475910"/>
            <a:ext cx="1155548" cy="203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779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Demo</a:t>
            </a:r>
          </a:p>
        </p:txBody>
      </p:sp>
    </p:spTree>
    <p:extLst>
      <p:ext uri="{BB962C8B-B14F-4D97-AF65-F5344CB8AC3E}">
        <p14:creationId xmlns:p14="http://schemas.microsoft.com/office/powerpoint/2010/main" val="9345224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8947"/>
            <a:ext cx="7886700" cy="1325563"/>
          </a:xfrm>
        </p:spPr>
        <p:txBody>
          <a:bodyPr>
            <a:normAutofit/>
          </a:bodyPr>
          <a:lstStyle/>
          <a:p>
            <a:r>
              <a:rPr lang="en-US" sz="3200" dirty="0"/>
              <a:t>We automate </a:t>
            </a:r>
            <a:r>
              <a:rPr lang="en-US" sz="3200" dirty="0" err="1"/>
              <a:t>coworking</a:t>
            </a:r>
            <a:r>
              <a:rPr lang="en-US" sz="3200" dirty="0"/>
              <a:t> spaces’ operations and increases securit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078379" y="4009420"/>
            <a:ext cx="14782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nbeatable </a:t>
            </a:r>
          </a:p>
          <a:p>
            <a:pPr algn="ctr"/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st Savings</a:t>
            </a:r>
          </a:p>
          <a:p>
            <a:pPr algn="ctr"/>
            <a:endParaRPr lang="en-US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3728" y="4077632"/>
            <a:ext cx="177484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can The Code,</a:t>
            </a:r>
          </a:p>
          <a:p>
            <a:pPr algn="ctr"/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You’re In</a:t>
            </a:r>
          </a:p>
          <a:p>
            <a:pPr algn="ctr"/>
            <a:endParaRPr lang="en-US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08522" y="4077632"/>
            <a:ext cx="1369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fer Than Ever Before</a:t>
            </a:r>
          </a:p>
          <a:p>
            <a:endParaRPr lang="en-US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5965" t="9065" r="11053" b="9689"/>
          <a:stretch/>
        </p:blipFill>
        <p:spPr>
          <a:xfrm>
            <a:off x="4870763" y="1877315"/>
            <a:ext cx="1709871" cy="190349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43577" y="4855530"/>
            <a:ext cx="20696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peline developments </a:t>
            </a:r>
          </a:p>
          <a:p>
            <a:pPr algn="ctr"/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o enhance Co-Lock syste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20613" y="4101753"/>
            <a:ext cx="1729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ighly Scalab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845883" y="4855530"/>
            <a:ext cx="2069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duce payroll expens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571283" y="4855530"/>
            <a:ext cx="2069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curately restrict unauthorized acces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1015" y="4857053"/>
            <a:ext cx="2069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e-scan easy acces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1995" y="2334836"/>
            <a:ext cx="1346090" cy="13460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254" y="2127201"/>
            <a:ext cx="1729617" cy="172961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1465" y="1877315"/>
            <a:ext cx="1832118" cy="1832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27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-Lock: Pipeline Development</a:t>
            </a:r>
          </a:p>
        </p:txBody>
      </p:sp>
      <p:pic>
        <p:nvPicPr>
          <p:cNvPr id="4" name="Picture 3" descr="A picture containing iPod, electronics&#10;&#10;Description generated with very high confidenc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0543" y="2041059"/>
            <a:ext cx="3475688" cy="3475688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>
          <a:xfrm>
            <a:off x="560234" y="4201258"/>
            <a:ext cx="2010378" cy="1398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08148" y="3815887"/>
            <a:ext cx="22317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ed Bookin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08148" y="4215241"/>
            <a:ext cx="21145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can-to-book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creased convenience during off-peak hours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613210" y="1980572"/>
            <a:ext cx="2010378" cy="1398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09037" y="1595201"/>
            <a:ext cx="1706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cess Contro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09037" y="1994555"/>
            <a:ext cx="211455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p showing vacancy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ers’ access to rooms is customized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y include Wi-Fi control.</a:t>
            </a:r>
          </a:p>
        </p:txBody>
      </p: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6377651" y="1980572"/>
            <a:ext cx="2010378" cy="1398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273478" y="1595201"/>
            <a:ext cx="1536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rge Pricing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273478" y="1994555"/>
            <a:ext cx="211455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mulas track current occupancy and historical occupancy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termine surge multiplier to increase revenue</a:t>
            </a: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6377651" y="4164274"/>
            <a:ext cx="2010378" cy="1398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6273478" y="3778903"/>
            <a:ext cx="2305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ight and AC Contro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273478" y="4178257"/>
            <a:ext cx="211455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tects human presence in room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witches lights and AC on-off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pulsory scanning allows better AC control</a:t>
            </a:r>
          </a:p>
        </p:txBody>
      </p:sp>
    </p:spTree>
    <p:extLst>
      <p:ext uri="{BB962C8B-B14F-4D97-AF65-F5344CB8AC3E}">
        <p14:creationId xmlns:p14="http://schemas.microsoft.com/office/powerpoint/2010/main" val="2605229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67006"/>
            <a:ext cx="7886700" cy="1325563"/>
          </a:xfrm>
        </p:spPr>
        <p:txBody>
          <a:bodyPr/>
          <a:lstStyle/>
          <a:p>
            <a:r>
              <a:rPr lang="en-US" dirty="0"/>
              <a:t>B2B Security Management is Ripe for Disruption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5015231" y="2026920"/>
            <a:ext cx="3500119" cy="3535680"/>
            <a:chOff x="2032000" y="1905000"/>
            <a:chExt cx="5080000" cy="4191000"/>
          </a:xfrm>
          <a:noFill/>
        </p:grpSpPr>
        <p:sp>
          <p:nvSpPr>
            <p:cNvPr id="10" name="Freeform: Shape 9"/>
            <p:cNvSpPr/>
            <p:nvPr>
              <p:custDataLst>
                <p:tags r:id="rId1"/>
              </p:custDataLst>
            </p:nvPr>
          </p:nvSpPr>
          <p:spPr>
            <a:xfrm>
              <a:off x="3725335" y="1905000"/>
              <a:ext cx="1693333" cy="1397000"/>
            </a:xfrm>
            <a:custGeom>
              <a:avLst/>
              <a:gdLst>
                <a:gd name="connsiteX0" fmla="*/ 846666 w 1693333"/>
                <a:gd name="connsiteY0" fmla="*/ 0 h 1397000"/>
                <a:gd name="connsiteX1" fmla="*/ 1693333 w 1693333"/>
                <a:gd name="connsiteY1" fmla="*/ 1397000 h 1397000"/>
                <a:gd name="connsiteX2" fmla="*/ 0 w 1693333"/>
                <a:gd name="connsiteY2" fmla="*/ 1397000 h 139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3333" h="1397000">
                  <a:moveTo>
                    <a:pt x="846666" y="0"/>
                  </a:moveTo>
                  <a:lnTo>
                    <a:pt x="1693333" y="1397000"/>
                  </a:lnTo>
                  <a:lnTo>
                    <a:pt x="0" y="1397000"/>
                  </a:lnTo>
                  <a:close/>
                </a:path>
              </a:pathLst>
            </a:custGeom>
            <a:grpFill/>
            <a:ln w="12700">
              <a:solidFill>
                <a:schemeClr val="accent5">
                  <a:lumMod val="7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/>
              <a:r>
                <a:rPr lang="en-US" sz="120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13" name="Freeform: Shape 12"/>
            <p:cNvSpPr/>
            <p:nvPr>
              <p:custDataLst>
                <p:tags r:id="rId2"/>
              </p:custDataLst>
            </p:nvPr>
          </p:nvSpPr>
          <p:spPr>
            <a:xfrm>
              <a:off x="2878667" y="3302000"/>
              <a:ext cx="3386666" cy="1397000"/>
            </a:xfrm>
            <a:custGeom>
              <a:avLst/>
              <a:gdLst>
                <a:gd name="connsiteX0" fmla="*/ 846667 w 3386666"/>
                <a:gd name="connsiteY0" fmla="*/ 0 h 1397000"/>
                <a:gd name="connsiteX1" fmla="*/ 2540000 w 3386666"/>
                <a:gd name="connsiteY1" fmla="*/ 0 h 1397000"/>
                <a:gd name="connsiteX2" fmla="*/ 3386666 w 3386666"/>
                <a:gd name="connsiteY2" fmla="*/ 1397000 h 1397000"/>
                <a:gd name="connsiteX3" fmla="*/ 3386666 w 3386666"/>
                <a:gd name="connsiteY3" fmla="*/ 1397000 h 1397000"/>
                <a:gd name="connsiteX4" fmla="*/ 0 w 3386666"/>
                <a:gd name="connsiteY4" fmla="*/ 1397000 h 1397000"/>
                <a:gd name="connsiteX5" fmla="*/ 0 w 3386666"/>
                <a:gd name="connsiteY5" fmla="*/ 1397000 h 139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86666" h="1397000">
                  <a:moveTo>
                    <a:pt x="846667" y="0"/>
                  </a:moveTo>
                  <a:lnTo>
                    <a:pt x="2540000" y="0"/>
                  </a:lnTo>
                  <a:lnTo>
                    <a:pt x="3386666" y="1397000"/>
                  </a:lnTo>
                  <a:lnTo>
                    <a:pt x="3386666" y="1397000"/>
                  </a:lnTo>
                  <a:lnTo>
                    <a:pt x="0" y="1397000"/>
                  </a:lnTo>
                  <a:lnTo>
                    <a:pt x="0" y="1397000"/>
                  </a:lnTo>
                  <a:close/>
                </a:path>
              </a:pathLst>
            </a:custGeom>
            <a:grpFill/>
            <a:ln w="12700">
              <a:solidFill>
                <a:schemeClr val="accent5">
                  <a:lumMod val="7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/>
              <a:r>
                <a:rPr lang="en-US" sz="120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16" name="Freeform: Shape 15"/>
            <p:cNvSpPr/>
            <p:nvPr>
              <p:custDataLst>
                <p:tags r:id="rId3"/>
              </p:custDataLst>
            </p:nvPr>
          </p:nvSpPr>
          <p:spPr>
            <a:xfrm>
              <a:off x="2032000" y="4699000"/>
              <a:ext cx="5080000" cy="1397000"/>
            </a:xfrm>
            <a:custGeom>
              <a:avLst/>
              <a:gdLst>
                <a:gd name="connsiteX0" fmla="*/ 846667 w 5080000"/>
                <a:gd name="connsiteY0" fmla="*/ 0 h 1397000"/>
                <a:gd name="connsiteX1" fmla="*/ 4233334 w 5080000"/>
                <a:gd name="connsiteY1" fmla="*/ 0 h 1397000"/>
                <a:gd name="connsiteX2" fmla="*/ 5080000 w 5080000"/>
                <a:gd name="connsiteY2" fmla="*/ 1397000 h 1397000"/>
                <a:gd name="connsiteX3" fmla="*/ 0 w 5080000"/>
                <a:gd name="connsiteY3" fmla="*/ 1397000 h 139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0000" h="1397000">
                  <a:moveTo>
                    <a:pt x="846667" y="0"/>
                  </a:moveTo>
                  <a:lnTo>
                    <a:pt x="4233334" y="0"/>
                  </a:lnTo>
                  <a:lnTo>
                    <a:pt x="5080000" y="1397000"/>
                  </a:lnTo>
                  <a:lnTo>
                    <a:pt x="0" y="1397000"/>
                  </a:lnTo>
                  <a:close/>
                </a:path>
              </a:pathLst>
            </a:custGeom>
            <a:grpFill/>
            <a:ln w="12700">
              <a:solidFill>
                <a:schemeClr val="accent5">
                  <a:lumMod val="7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/>
              <a:r>
                <a:rPr lang="en-US" sz="120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</p:grp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732823" y="2012937"/>
            <a:ext cx="2010378" cy="1398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28650" y="1627566"/>
            <a:ext cx="19769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op Market (20%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8650" y="2026920"/>
            <a:ext cx="2114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rge contracts – MNC, large offices/facilities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 flipH="1" flipV="1">
            <a:off x="2956560" y="2026920"/>
            <a:ext cx="3779520" cy="7467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650" y="2550140"/>
            <a:ext cx="826107" cy="718820"/>
          </a:xfrm>
          <a:prstGeom prst="rect">
            <a:avLst/>
          </a:prstGeom>
        </p:spPr>
      </p:pic>
      <p:pic>
        <p:nvPicPr>
          <p:cNvPr id="36" name="Picture 35" descr="A picture containing thing, object&#10;&#10;Description generated with high confidenc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1236" y="2547288"/>
            <a:ext cx="1303623" cy="426733"/>
          </a:xfrm>
          <a:prstGeom prst="rect">
            <a:avLst/>
          </a:prstGeom>
        </p:spPr>
      </p:pic>
      <p:cxnSp>
        <p:nvCxnSpPr>
          <p:cNvPr id="39" name="Straight Connector 38"/>
          <p:cNvCxnSpPr>
            <a:cxnSpLocks/>
          </p:cNvCxnSpPr>
          <p:nvPr/>
        </p:nvCxnSpPr>
        <p:spPr>
          <a:xfrm>
            <a:off x="732823" y="4014757"/>
            <a:ext cx="2010378" cy="1398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28650" y="4028740"/>
            <a:ext cx="21145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mall to Medium </a:t>
            </a:r>
            <a:r>
              <a:rPr lang="en-US" sz="1400" dirty="0" err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working</a:t>
            </a:r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paces at limited scale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k efficient facility management system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28650" y="3607514"/>
            <a:ext cx="2305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iddle Market (70%)</a:t>
            </a:r>
          </a:p>
        </p:txBody>
      </p:sp>
      <p:cxnSp>
        <p:nvCxnSpPr>
          <p:cNvPr id="42" name="Straight Arrow Connector 41"/>
          <p:cNvCxnSpPr>
            <a:cxnSpLocks/>
          </p:cNvCxnSpPr>
          <p:nvPr/>
        </p:nvCxnSpPr>
        <p:spPr>
          <a:xfrm flipH="1">
            <a:off x="3038454" y="3792180"/>
            <a:ext cx="3697626" cy="9290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7148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PYRAMID_BIG_TRIANGLE" val="POWER_USER_DIAGRAM_PYRAMID_BIG_TRIANGLE"/>
  <p:tag name="POWER_USER_DIAGRAM_PYRAMID_COMBINATION_KEY" val="POWER_USER_DIAGRAM_PYRAMID_COMBINATION_VALUE_1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PYRAMID_BIG_TRIANGLE" val="POWER_USER_DIAGRAM_PYRAMID_BIG_TRIANGLE"/>
  <p:tag name="POWER_USER_DIAGRAM_PYRAMID_COMBINATION_KEY" val="POWER_USER_DIAGRAM_PYRAMID_COMBINATION_VALUE_2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PYRAMID_BIG_TRIANGLE" val="POWER_USER_DIAGRAM_PYRAMID_BIG_TRIANGLE"/>
  <p:tag name="POWER_USER_DIAGRAM_PYRAMID_COMBINATION_KEY" val="POWER_USER_DIAGRAM_PYRAMID_COMBINATION_VALUE_3-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41</TotalTime>
  <Words>429</Words>
  <Application>Microsoft Office PowerPoint</Application>
  <PresentationFormat>On-screen Show (4:3)</PresentationFormat>
  <Paragraphs>164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pen Sans Light</vt:lpstr>
      <vt:lpstr>Office Theme</vt:lpstr>
      <vt:lpstr>Co-Lock</vt:lpstr>
      <vt:lpstr>Co-working thrives as startups thrive</vt:lpstr>
      <vt:lpstr>Pain Points</vt:lpstr>
      <vt:lpstr>Solution: Co-Lock System</vt:lpstr>
      <vt:lpstr>Solution: Co-Lock System</vt:lpstr>
      <vt:lpstr>Product Demo</vt:lpstr>
      <vt:lpstr>We automate coworking spaces’ operations and increases security</vt:lpstr>
      <vt:lpstr>Co-Lock: Pipeline Development</vt:lpstr>
      <vt:lpstr>B2B Security Management is Ripe for Disruption</vt:lpstr>
      <vt:lpstr>We target medium-sized co-working spaces</vt:lpstr>
      <vt:lpstr>Large immediate market with huge growth in Singapore</vt:lpstr>
      <vt:lpstr>SaaS model with free lock implementation</vt:lpstr>
      <vt:lpstr>Go-to-market Strategy Today we build locks, tomorrow we build hom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oke &amp; Fluff</dc:title>
  <dc:creator>Eugene TAN Jin Han</dc:creator>
  <cp:lastModifiedBy>Duc PHAM</cp:lastModifiedBy>
  <cp:revision>72</cp:revision>
  <dcterms:created xsi:type="dcterms:W3CDTF">2017-05-13T00:21:48Z</dcterms:created>
  <dcterms:modified xsi:type="dcterms:W3CDTF">2017-05-14T02:51:11Z</dcterms:modified>
</cp:coreProperties>
</file>